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104063" cy="10234613"/>
  <p:embeddedFontLst>
    <p:embeddedFont>
      <p:font typeface="FlexoSoft" panose="020B0604020202020204" charset="0"/>
      <p:regular r:id="rId7"/>
      <p:bold r:id="rId8"/>
      <p:italic r:id="rId9"/>
      <p:boldItalic r:id="rId10"/>
    </p:embeddedFont>
    <p:embeddedFont>
      <p:font typeface="Montserrat" panose="00000500000000000000" pitchFamily="2" charset="0"/>
      <p:regular r:id="rId11"/>
      <p:bold r:id="rId12"/>
      <p:italic r:id="rId13"/>
      <p:boldItalic r:id="rId14"/>
    </p:embeddedFont>
    <p:embeddedFont>
      <p:font typeface="Montserrat Light" panose="00000400000000000000" pitchFamily="2" charset="0"/>
      <p:regular r:id="rId15"/>
      <p:italic r:id="rId16"/>
    </p:embeddedFont>
    <p:embeddedFont>
      <p:font typeface="Montserrat SemiBold" panose="00000700000000000000" pitchFamily="2" charset="0"/>
      <p:bold r:id="rId17"/>
      <p:boldItalic r:id="rId18"/>
    </p:embeddedFont>
    <p:embeddedFont>
      <p:font typeface="Open Sans" panose="020B0606030504020204" pitchFamily="34" charset="0"/>
      <p:regular r:id="rId19"/>
      <p:bold r:id="rId20"/>
      <p:italic r:id="rId21"/>
      <p:boldItalic r:id="rId22"/>
    </p:embeddedFont>
    <p:embeddedFont>
      <p:font typeface="Wingdings 2" panose="05020102010507070707" pitchFamily="18" charset="2"/>
      <p:regular r:id="rId23"/>
    </p:embeddedFont>
  </p:embeddedFontLst>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4DEC17-E8D2-4F38-A28A-51E6DB201773}" v="1" dt="2025-02-22T14:50:35.08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varScale="1">
        <p:scale>
          <a:sx n="74" d="100"/>
          <a:sy n="74" d="100"/>
        </p:scale>
        <p:origin x="3096" y="60"/>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heme" Target="theme/theme1.xml"/><Relationship Id="rId10" Type="http://schemas.openxmlformats.org/officeDocument/2006/relationships/font" Target="fonts/font4.fntdata"/><Relationship Id="rId19" Type="http://schemas.openxmlformats.org/officeDocument/2006/relationships/font" Target="fonts/font13.fntdata"/><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us Kümmerle" userId="edb588ad-b118-44cb-93b6-335b967c9009" providerId="ADAL" clId="{6055671A-50BB-43B1-8535-2336391658ED}"/>
    <pc:docChg chg="custSel modSld">
      <pc:chgData name="Markus Kümmerle" userId="edb588ad-b118-44cb-93b6-335b967c9009" providerId="ADAL" clId="{6055671A-50BB-43B1-8535-2336391658ED}" dt="2025-01-24T09:24:11.880" v="16" actId="1076"/>
      <pc:docMkLst>
        <pc:docMk/>
      </pc:docMkLst>
      <pc:sldChg chg="addSp delSp modSp mod">
        <pc:chgData name="Markus Kümmerle" userId="edb588ad-b118-44cb-93b6-335b967c9009" providerId="ADAL" clId="{6055671A-50BB-43B1-8535-2336391658ED}" dt="2025-01-24T09:24:11.880" v="16" actId="1076"/>
        <pc:sldMkLst>
          <pc:docMk/>
          <pc:sldMk cId="753175953" sldId="2056"/>
        </pc:sldMkLst>
        <pc:spChg chg="mod">
          <ac:chgData name="Markus Kümmerle" userId="edb588ad-b118-44cb-93b6-335b967c9009" providerId="ADAL" clId="{6055671A-50BB-43B1-8535-2336391658ED}" dt="2025-01-24T09:17:48.040" v="9" actId="20577"/>
          <ac:spMkLst>
            <pc:docMk/>
            <pc:sldMk cId="753175953" sldId="2056"/>
            <ac:spMk id="12" creationId="{70463976-1354-BDDA-18A9-EEFA0BB1625A}"/>
          </ac:spMkLst>
        </pc:spChg>
        <pc:picChg chg="del">
          <ac:chgData name="Markus Kümmerle" userId="edb588ad-b118-44cb-93b6-335b967c9009" providerId="ADAL" clId="{6055671A-50BB-43B1-8535-2336391658ED}" dt="2025-01-24T09:23:39.946" v="10" actId="478"/>
          <ac:picMkLst>
            <pc:docMk/>
            <pc:sldMk cId="753175953" sldId="2056"/>
            <ac:picMk id="2" creationId="{DECCF92E-6CAB-DF67-8467-3A9F4FE01129}"/>
          </ac:picMkLst>
        </pc:picChg>
        <pc:picChg chg="add mod">
          <ac:chgData name="Markus Kümmerle" userId="edb588ad-b118-44cb-93b6-335b967c9009" providerId="ADAL" clId="{6055671A-50BB-43B1-8535-2336391658ED}" dt="2025-01-24T09:24:11.880" v="16" actId="1076"/>
          <ac:picMkLst>
            <pc:docMk/>
            <pc:sldMk cId="753175953" sldId="2056"/>
            <ac:picMk id="3" creationId="{F44F88F7-81A7-8F22-8638-21ACDF9A0CB2}"/>
          </ac:picMkLst>
        </pc:picChg>
      </pc:sldChg>
    </pc:docChg>
  </pc:docChgLst>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docChgLst>
    <pc:chgData name="Kümmerle, Markus" userId="edb588ad-b118-44cb-93b6-335b967c9009" providerId="ADAL" clId="{34666427-7FCB-4FA7-A3B4-9E6503AF3227}"/>
    <pc:docChg chg="custSel modSld">
      <pc:chgData name="Kümmerle, Markus" userId="edb588ad-b118-44cb-93b6-335b967c9009" providerId="ADAL" clId="{34666427-7FCB-4FA7-A3B4-9E6503AF3227}" dt="2024-09-11T13:29:06.421" v="31" actId="1035"/>
      <pc:docMkLst>
        <pc:docMk/>
      </pc:docMkLst>
      <pc:sldChg chg="addSp delSp modSp mod">
        <pc:chgData name="Kümmerle, Markus" userId="edb588ad-b118-44cb-93b6-335b967c9009" providerId="ADAL" clId="{34666427-7FCB-4FA7-A3B4-9E6503AF3227}" dt="2024-09-11T13:29:06.421" v="31" actId="1035"/>
        <pc:sldMkLst>
          <pc:docMk/>
          <pc:sldMk cId="753175953" sldId="2056"/>
        </pc:sldMkLst>
        <pc:spChg chg="mod">
          <ac:chgData name="Kümmerle, Markus" userId="edb588ad-b118-44cb-93b6-335b967c9009" providerId="ADAL" clId="{34666427-7FCB-4FA7-A3B4-9E6503AF3227}" dt="2024-09-11T13:28:03.117" v="26" actId="20577"/>
          <ac:spMkLst>
            <pc:docMk/>
            <pc:sldMk cId="753175953" sldId="2056"/>
            <ac:spMk id="12" creationId="{70463976-1354-BDDA-18A9-EEFA0BB1625A}"/>
          </ac:spMkLst>
        </pc:spChg>
        <pc:picChg chg="add del mod">
          <ac:chgData name="Kümmerle, Markus" userId="edb588ad-b118-44cb-93b6-335b967c9009" providerId="ADAL" clId="{34666427-7FCB-4FA7-A3B4-9E6503AF3227}" dt="2024-09-11T13:24:58.317" v="15" actId="478"/>
          <ac:picMkLst>
            <pc:docMk/>
            <pc:sldMk cId="753175953" sldId="2056"/>
            <ac:picMk id="2" creationId="{4D1B7377-AA9A-D811-5416-833484973983}"/>
          </ac:picMkLst>
        </pc:picChg>
        <pc:picChg chg="del">
          <ac:chgData name="Kümmerle, Markus" userId="edb588ad-b118-44cb-93b6-335b967c9009" providerId="ADAL" clId="{34666427-7FCB-4FA7-A3B4-9E6503AF3227}" dt="2024-09-11T13:21:28.288" v="0" actId="478"/>
          <ac:picMkLst>
            <pc:docMk/>
            <pc:sldMk cId="753175953" sldId="2056"/>
            <ac:picMk id="3" creationId="{979A4C29-DD51-5CC7-4E6E-F575F59A39E2}"/>
          </ac:picMkLst>
        </pc:picChg>
        <pc:picChg chg="add mod">
          <ac:chgData name="Kümmerle, Markus" userId="edb588ad-b118-44cb-93b6-335b967c9009" providerId="ADAL" clId="{34666427-7FCB-4FA7-A3B4-9E6503AF3227}" dt="2024-09-11T13:29:06.421" v="31" actId="1035"/>
          <ac:picMkLst>
            <pc:docMk/>
            <pc:sldMk cId="753175953" sldId="2056"/>
            <ac:picMk id="15" creationId="{65489179-D576-67C4-FCC6-C7E5A5B75B40}"/>
          </ac:picMkLst>
        </pc:picChg>
      </pc:sldChg>
    </pc:docChg>
  </pc:docChgLst>
  <pc:docChgLst>
    <pc:chgData name="Kümmerle, Markus" userId="edb588ad-b118-44cb-93b6-335b967c9009" providerId="ADAL" clId="{D2DCF2E7-8E35-44EA-AF39-7F465D266750}"/>
    <pc:docChg chg="custSel modSld">
      <pc:chgData name="Kümmerle, Markus" userId="edb588ad-b118-44cb-93b6-335b967c9009" providerId="ADAL" clId="{D2DCF2E7-8E35-44EA-AF39-7F465D266750}" dt="2024-12-18T13:41:55.169" v="4" actId="14100"/>
      <pc:docMkLst>
        <pc:docMk/>
      </pc:docMkLst>
      <pc:sldChg chg="addSp delSp modSp mod">
        <pc:chgData name="Kümmerle, Markus" userId="edb588ad-b118-44cb-93b6-335b967c9009" providerId="ADAL" clId="{D2DCF2E7-8E35-44EA-AF39-7F465D266750}" dt="2024-12-18T13:41:55.169" v="4" actId="14100"/>
        <pc:sldMkLst>
          <pc:docMk/>
          <pc:sldMk cId="753175953" sldId="2056"/>
        </pc:sldMkLst>
        <pc:picChg chg="add mod">
          <ac:chgData name="Kümmerle, Markus" userId="edb588ad-b118-44cb-93b6-335b967c9009" providerId="ADAL" clId="{D2DCF2E7-8E35-44EA-AF39-7F465D266750}" dt="2024-12-18T13:41:55.169" v="4" actId="14100"/>
          <ac:picMkLst>
            <pc:docMk/>
            <pc:sldMk cId="753175953" sldId="2056"/>
            <ac:picMk id="2" creationId="{DECCF92E-6CAB-DF67-8467-3A9F4FE01129}"/>
          </ac:picMkLst>
        </pc:picChg>
        <pc:picChg chg="del">
          <ac:chgData name="Kümmerle, Markus" userId="edb588ad-b118-44cb-93b6-335b967c9009" providerId="ADAL" clId="{D2DCF2E7-8E35-44EA-AF39-7F465D266750}" dt="2024-12-18T13:41:40.743" v="0" actId="478"/>
          <ac:picMkLst>
            <pc:docMk/>
            <pc:sldMk cId="753175953" sldId="2056"/>
            <ac:picMk id="3" creationId="{010DBF70-74A2-EE62-076E-8F678C2687E9}"/>
          </ac:picMkLst>
        </pc:picChg>
      </pc:sldChg>
    </pc:docChg>
  </pc:docChgLst>
  <pc:docChgLst>
    <pc:chgData name="Kümmerle, Markus" userId="edb588ad-b118-44cb-93b6-335b967c9009" providerId="ADAL" clId="{70689628-A2CC-4A3A-9986-D50F656A5A10}"/>
    <pc:docChg chg="custSel modSld">
      <pc:chgData name="Kümmerle, Markus" userId="edb588ad-b118-44cb-93b6-335b967c9009" providerId="ADAL" clId="{70689628-A2CC-4A3A-9986-D50F656A5A10}" dt="2024-06-06T10:57:34.863" v="11" actId="20577"/>
      <pc:docMkLst>
        <pc:docMk/>
      </pc:docMkLst>
      <pc:sldChg chg="addSp delSp modSp mod">
        <pc:chgData name="Kümmerle, Markus" userId="edb588ad-b118-44cb-93b6-335b967c9009" providerId="ADAL" clId="{70689628-A2CC-4A3A-9986-D50F656A5A10}" dt="2024-06-06T10:57:34.863" v="11" actId="20577"/>
        <pc:sldMkLst>
          <pc:docMk/>
          <pc:sldMk cId="753175953" sldId="2056"/>
        </pc:sldMkLst>
        <pc:spChg chg="mod">
          <ac:chgData name="Kümmerle, Markus" userId="edb588ad-b118-44cb-93b6-335b967c9009" providerId="ADAL" clId="{70689628-A2CC-4A3A-9986-D50F656A5A10}" dt="2024-06-06T10:57:34.863" v="11" actId="20577"/>
          <ac:spMkLst>
            <pc:docMk/>
            <pc:sldMk cId="753175953" sldId="2056"/>
            <ac:spMk id="12" creationId="{70463976-1354-BDDA-18A9-EEFA0BB1625A}"/>
          </ac:spMkLst>
        </pc:spChg>
        <pc:picChg chg="add mod">
          <ac:chgData name="Kümmerle, Markus" userId="edb588ad-b118-44cb-93b6-335b967c9009" providerId="ADAL" clId="{70689628-A2CC-4A3A-9986-D50F656A5A10}" dt="2024-06-06T10:57:13.718" v="6" actId="14100"/>
          <ac:picMkLst>
            <pc:docMk/>
            <pc:sldMk cId="753175953" sldId="2056"/>
            <ac:picMk id="2" creationId="{7C8758F3-9862-F1DD-23AF-469CFC1A0C82}"/>
          </ac:picMkLst>
        </pc:picChg>
        <pc:picChg chg="del">
          <ac:chgData name="Kümmerle, Markus" userId="edb588ad-b118-44cb-93b6-335b967c9009" providerId="ADAL" clId="{70689628-A2CC-4A3A-9986-D50F656A5A10}" dt="2024-06-06T10:57:01.847" v="0" actId="478"/>
          <ac:picMkLst>
            <pc:docMk/>
            <pc:sldMk cId="753175953" sldId="2056"/>
            <ac:picMk id="3" creationId="{1C31E869-2AFA-1128-9EB5-0217EF39C0BE}"/>
          </ac:picMkLst>
        </pc:picChg>
      </pc:sldChg>
    </pc:docChg>
  </pc:docChgLst>
  <pc:docChgLst>
    <pc:chgData name="Kümmerle, Markus" userId="edb588ad-b118-44cb-93b6-335b967c9009" providerId="ADAL" clId="{554DEC17-E8D2-4F38-A28A-51E6DB201773}"/>
    <pc:docChg chg="custSel modSld">
      <pc:chgData name="Kümmerle, Markus" userId="edb588ad-b118-44cb-93b6-335b967c9009" providerId="ADAL" clId="{554DEC17-E8D2-4F38-A28A-51E6DB201773}" dt="2025-02-22T14:51:24.388" v="15" actId="1076"/>
      <pc:docMkLst>
        <pc:docMk/>
      </pc:docMkLst>
      <pc:sldChg chg="addSp delSp modSp mod">
        <pc:chgData name="Kümmerle, Markus" userId="edb588ad-b118-44cb-93b6-335b967c9009" providerId="ADAL" clId="{554DEC17-E8D2-4F38-A28A-51E6DB201773}" dt="2025-02-22T14:51:24.388" v="15" actId="1076"/>
        <pc:sldMkLst>
          <pc:docMk/>
          <pc:sldMk cId="753175953" sldId="2056"/>
        </pc:sldMkLst>
        <pc:spChg chg="mod">
          <ac:chgData name="Kümmerle, Markus" userId="edb588ad-b118-44cb-93b6-335b967c9009" providerId="ADAL" clId="{554DEC17-E8D2-4F38-A28A-51E6DB201773}" dt="2025-02-22T14:46:50.672" v="5" actId="20577"/>
          <ac:spMkLst>
            <pc:docMk/>
            <pc:sldMk cId="753175953" sldId="2056"/>
            <ac:spMk id="12" creationId="{70463976-1354-BDDA-18A9-EEFA0BB1625A}"/>
          </ac:spMkLst>
        </pc:spChg>
        <pc:picChg chg="add del mod">
          <ac:chgData name="Kümmerle, Markus" userId="edb588ad-b118-44cb-93b6-335b967c9009" providerId="ADAL" clId="{554DEC17-E8D2-4F38-A28A-51E6DB201773}" dt="2025-02-22T14:51:03.522" v="12" actId="478"/>
          <ac:picMkLst>
            <pc:docMk/>
            <pc:sldMk cId="753175953" sldId="2056"/>
            <ac:picMk id="2" creationId="{1B28B980-C589-EC84-1FAA-EA3635B4268C}"/>
          </ac:picMkLst>
        </pc:picChg>
        <pc:picChg chg="del">
          <ac:chgData name="Kümmerle, Markus" userId="edb588ad-b118-44cb-93b6-335b967c9009" providerId="ADAL" clId="{554DEC17-E8D2-4F38-A28A-51E6DB201773}" dt="2025-02-22T14:51:20.249" v="14" actId="478"/>
          <ac:picMkLst>
            <pc:docMk/>
            <pc:sldMk cId="753175953" sldId="2056"/>
            <ac:picMk id="3" creationId="{F44F88F7-81A7-8F22-8638-21ACDF9A0CB2}"/>
          </ac:picMkLst>
        </pc:picChg>
        <pc:picChg chg="add mod">
          <ac:chgData name="Kümmerle, Markus" userId="edb588ad-b118-44cb-93b6-335b967c9009" providerId="ADAL" clId="{554DEC17-E8D2-4F38-A28A-51E6DB201773}" dt="2025-02-22T14:51:24.388" v="15" actId="1076"/>
          <ac:picMkLst>
            <pc:docMk/>
            <pc:sldMk cId="753175953" sldId="2056"/>
            <ac:picMk id="15" creationId="{CA90E277-F6CB-1BFD-13B0-04AC28A8AFC0}"/>
          </ac:picMkLst>
        </pc:picChg>
      </pc:sldChg>
    </pc:docChg>
  </pc:docChgLst>
  <pc:docChgLst>
    <pc:chgData name="Markus Kümmerle" userId="edb588ad-b118-44cb-93b6-335b967c9009" providerId="ADAL" clId="{D2DCF2E7-8E35-44EA-AF39-7F465D266750}"/>
    <pc:docChg chg="custSel modSld">
      <pc:chgData name="Markus Kümmerle" userId="edb588ad-b118-44cb-93b6-335b967c9009" providerId="ADAL" clId="{D2DCF2E7-8E35-44EA-AF39-7F465D266750}" dt="2024-12-17T13:38:41.904" v="14" actId="1076"/>
      <pc:docMkLst>
        <pc:docMk/>
      </pc:docMkLst>
      <pc:sldChg chg="addSp delSp modSp mod">
        <pc:chgData name="Markus Kümmerle" userId="edb588ad-b118-44cb-93b6-335b967c9009" providerId="ADAL" clId="{D2DCF2E7-8E35-44EA-AF39-7F465D266750}" dt="2024-12-17T13:38:41.904" v="14" actId="1076"/>
        <pc:sldMkLst>
          <pc:docMk/>
          <pc:sldMk cId="753175953" sldId="2056"/>
        </pc:sldMkLst>
        <pc:spChg chg="mod">
          <ac:chgData name="Markus Kümmerle" userId="edb588ad-b118-44cb-93b6-335b967c9009" providerId="ADAL" clId="{D2DCF2E7-8E35-44EA-AF39-7F465D266750}" dt="2024-12-17T13:35:34.875" v="7" actId="20577"/>
          <ac:spMkLst>
            <pc:docMk/>
            <pc:sldMk cId="753175953" sldId="2056"/>
            <ac:spMk id="12" creationId="{70463976-1354-BDDA-18A9-EEFA0BB1625A}"/>
          </ac:spMkLst>
        </pc:spChg>
        <pc:picChg chg="del">
          <ac:chgData name="Markus Kümmerle" userId="edb588ad-b118-44cb-93b6-335b967c9009" providerId="ADAL" clId="{D2DCF2E7-8E35-44EA-AF39-7F465D266750}" dt="2024-12-17T13:38:18.683" v="8" actId="478"/>
          <ac:picMkLst>
            <pc:docMk/>
            <pc:sldMk cId="753175953" sldId="2056"/>
            <ac:picMk id="2" creationId="{9A8879A2-373D-FBD1-63D7-B6B0D885E516}"/>
          </ac:picMkLst>
        </pc:picChg>
        <pc:picChg chg="add mod">
          <ac:chgData name="Markus Kümmerle" userId="edb588ad-b118-44cb-93b6-335b967c9009" providerId="ADAL" clId="{D2DCF2E7-8E35-44EA-AF39-7F465D266750}" dt="2024-12-17T13:38:41.904" v="14" actId="1076"/>
          <ac:picMkLst>
            <pc:docMk/>
            <pc:sldMk cId="753175953" sldId="2056"/>
            <ac:picMk id="3" creationId="{010DBF70-74A2-EE62-076E-8F678C2687E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22.02.2025</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707245" cy="215444"/>
          </a:xfrm>
          <a:prstGeom prst="rect">
            <a:avLst/>
          </a:prstGeom>
          <a:noFill/>
        </p:spPr>
        <p:txBody>
          <a:bodyPr wrap="none" rtlCol="0">
            <a:spAutoFit/>
          </a:bodyPr>
          <a:lstStyle/>
          <a:p>
            <a:r>
              <a:rPr lang="de-DE" sz="800" dirty="0">
                <a:latin typeface="Montserrat Light" panose="00000400000000000000" pitchFamily="2" charset="0"/>
              </a:rPr>
              <a:t>22.02.2025</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15" name="Grafik 14">
            <a:extLst>
              <a:ext uri="{FF2B5EF4-FFF2-40B4-BE49-F238E27FC236}">
                <a16:creationId xmlns:a16="http://schemas.microsoft.com/office/drawing/2014/main" id="{CA90E277-F6CB-1BFD-13B0-04AC28A8AFC0}"/>
              </a:ext>
            </a:extLst>
          </p:cNvPr>
          <p:cNvPicPr>
            <a:picLocks noChangeAspect="1"/>
          </p:cNvPicPr>
          <p:nvPr/>
        </p:nvPicPr>
        <p:blipFill>
          <a:blip r:embed="rId7"/>
          <a:stretch>
            <a:fillRect/>
          </a:stretch>
        </p:blipFill>
        <p:spPr>
          <a:xfrm>
            <a:off x="0" y="7629806"/>
            <a:ext cx="6858000" cy="2180376"/>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2.xml><?xml version="1.0" encoding="utf-8"?>
<ds:datastoreItem xmlns:ds="http://schemas.openxmlformats.org/officeDocument/2006/customXml" ds:itemID="{96FB6EF1-0BB7-4926-9DDA-55BF1304A87D}">
  <ds:schemaRefs>
    <ds:schemaRef ds:uri="http://purl.org/dc/elements/1.1/"/>
    <ds:schemaRef ds:uri="http://schemas.openxmlformats.org/package/2006/metadata/core-properties"/>
    <ds:schemaRef ds:uri="http://schemas.microsoft.com/office/2006/documentManagement/types"/>
    <ds:schemaRef ds:uri="http://purl.org/dc/dcmitype/"/>
    <ds:schemaRef ds:uri="http://purl.org/dc/terms/"/>
    <ds:schemaRef ds:uri="6126070c-0864-4b03-b2dc-aab5d8c39348"/>
    <ds:schemaRef ds:uri="http://www.w3.org/XML/1998/namespace"/>
    <ds:schemaRef ds:uri="97396690-0b91-46d2-ad5a-06f45914e19c"/>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3E09281D-64EC-4B41-BF41-414128D81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Montserrat</vt:lpstr>
      <vt:lpstr>Montserrat Light</vt:lpstr>
      <vt:lpstr>Arial</vt:lpstr>
      <vt:lpstr>Calibri</vt:lpstr>
      <vt:lpstr>Open Sans</vt:lpstr>
      <vt:lpstr>Montserrat SemiBold</vt:lpstr>
      <vt:lpstr>FlexoSoft</vt:lpstr>
      <vt:lpstr>Wingdings</vt:lpstr>
      <vt:lpstr>Wingdings 2</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21</cp:revision>
  <cp:lastPrinted>2024-08-09T14:32:42Z</cp:lastPrinted>
  <dcterms:created xsi:type="dcterms:W3CDTF">2023-03-22T17:04:48Z</dcterms:created>
  <dcterms:modified xsi:type="dcterms:W3CDTF">2025-02-22T14:5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